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3"/>
  </p:notesMasterIdLst>
  <p:sldIdLst>
    <p:sldId id="257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4" d="100"/>
          <a:sy n="84" d="100"/>
        </p:scale>
        <p:origin x="-1158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538D6E-18AD-4181-8F14-626A23DCE4F6}" type="datetimeFigureOut">
              <a:rPr lang="en-US" smtClean="0"/>
              <a:t>2/2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E0537E-3DA5-42F7-B094-A5DC028A9A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2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6DBD9B-028A-41BB-BE0D-D2E08D87B2D7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217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999927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386719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6908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192880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97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8222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544916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429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158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5994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7203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4791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470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474579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455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636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927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2513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0822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968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322565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25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976901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634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and 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5456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579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AA721">
                  <a:lumMod val="20000"/>
                  <a:lumOff val="80000"/>
                </a:srgb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94975"/>
                </a:solidFill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>
                <a:solidFill>
                  <a:srgbClr val="094975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rgbClr val="09497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4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0739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186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Sources &amp; Not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4275410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307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3684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7343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756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44920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457200" y="6096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7696200" y="6381628"/>
            <a:ext cx="1295400" cy="44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02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4.xml"/><Relationship Id="rId9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9809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2709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88570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509673"/>
              </p:ext>
            </p:extLst>
          </p:nvPr>
        </p:nvGraphicFramePr>
        <p:xfrm>
          <a:off x="152400" y="660509"/>
          <a:ext cx="8763000" cy="57402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752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22612"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#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Criteria </a:t>
                      </a:r>
                      <a:r>
                        <a:rPr lang="en-US" sz="1400" b="1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ractice must meet ≥ 7 out of 13) </a:t>
                      </a:r>
                      <a:endParaRPr lang="en-US" sz="1400" b="1" i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0769">
                <a:tc>
                  <a:txBody>
                    <a:bodyPr/>
                    <a:lstStyle/>
                    <a:p>
                      <a:r>
                        <a:rPr lang="en-US" sz="1050" b="0" dirty="0"/>
                        <a:t>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b="0" dirty="0"/>
                        <a:t>The practice </a:t>
                      </a:r>
                      <a:r>
                        <a:rPr lang="en-US" sz="1050" b="0" dirty="0" smtClean="0"/>
                        <a:t>has at least one </a:t>
                      </a:r>
                      <a:r>
                        <a:rPr lang="en-US" sz="1050" b="1" dirty="0" smtClean="0"/>
                        <a:t>care manager </a:t>
                      </a:r>
                      <a:r>
                        <a:rPr lang="en-US" sz="1050" b="0" dirty="0" smtClean="0"/>
                        <a:t>qualified to identify and coordinate behavioral health needs. </a:t>
                      </a:r>
                      <a:endParaRPr lang="en-US" sz="105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2512"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/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/>
                        <a:t>The practice </a:t>
                      </a:r>
                      <a:r>
                        <a:rPr lang="en-US" sz="1050" b="0" dirty="0" smtClean="0"/>
                        <a:t>has at least one clinician located in the practice who provides </a:t>
                      </a:r>
                      <a:r>
                        <a:rPr lang="en-US" sz="1050" b="1" dirty="0" smtClean="0"/>
                        <a:t>medication-assisted treatment</a:t>
                      </a:r>
                      <a:r>
                        <a:rPr lang="en-US" sz="1050" b="0" dirty="0" smtClean="0"/>
                        <a:t>, and </a:t>
                      </a:r>
                      <a:r>
                        <a:rPr lang="en-US" sz="1050" b="1" dirty="0" smtClean="0"/>
                        <a:t>provides behavioral therapy </a:t>
                      </a:r>
                      <a:r>
                        <a:rPr lang="en-US" sz="1050" b="0" dirty="0" smtClean="0"/>
                        <a:t>directly or via referral, for substance use disorders. </a:t>
                      </a:r>
                      <a:endParaRPr lang="en-US" sz="105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actice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orks with behavioral healthcare providers to whom the practice frequently refers, to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et expectations for information sharing and patient care. </a:t>
                      </a:r>
                      <a:endParaRPr lang="en-US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en-US" sz="105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actices </a:t>
                      </a:r>
                      <a:r>
                        <a:rPr lang="en-US" sz="105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tegrates behavioral healthcare providers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o the care delivery system of the practice site. </a:t>
                      </a:r>
                      <a:endParaRPr lang="en-US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actice 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cks referrals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 behavioral health specialists and has a process to monitor the timeliness and quality of the referral response. </a:t>
                      </a:r>
                      <a:endParaRPr lang="en-US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actice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ducts a comprehensive health assessment that includes 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haviors affecting health, and the mental health/substance use history of patient and family. </a:t>
                      </a:r>
                      <a:endParaRPr lang="en-US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actice conducts 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mental screening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ing a standardized tool for patients under 30 months of age. </a:t>
                      </a:r>
                      <a:endParaRPr lang="en-US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actice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ducts 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pression screenings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adults and adolescents using a standardized tool. </a:t>
                      </a:r>
                      <a:endParaRPr lang="en-US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actice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ducts 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xiety screenings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adults and adolescents using a standardized tool.</a:t>
                      </a:r>
                      <a:endParaRPr lang="en-US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actice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ducts 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cohol use disorder or other substance use disorder screenings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adults and adolescents using a standardized tool. </a:t>
                      </a:r>
                      <a:endParaRPr lang="en-US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actice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ducts 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partum depression screenings 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ing a standardized tool. </a:t>
                      </a:r>
                      <a:endParaRPr lang="en-US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419395">
                <a:tc>
                  <a:txBody>
                    <a:bodyPr/>
                    <a:lstStyle/>
                    <a:p>
                      <a:r>
                        <a:rPr lang="en-U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practice </a:t>
                      </a:r>
                      <a:r>
                        <a:rPr lang="en-US" sz="105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lements</a:t>
                      </a:r>
                      <a:r>
                        <a:rPr lang="en-US" sz="105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inical decision support </a:t>
                      </a:r>
                      <a:r>
                        <a:rPr lang="en-US" sz="105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llowing evidence-based guidelines for care of mental health conditions </a:t>
                      </a:r>
                      <a:r>
                        <a:rPr lang="en-US" sz="1050" u="sng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05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bstance use disorders. </a:t>
                      </a:r>
                      <a:endParaRPr lang="en-US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92512">
                <a:tc>
                  <a:txBody>
                    <a:bodyPr/>
                    <a:lstStyle/>
                    <a:p>
                      <a:r>
                        <a:rPr lang="en-US" sz="10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practice establishes a systemic process for </a:t>
                      </a:r>
                      <a:r>
                        <a:rPr lang="en-US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ying patients who may benefit from care management</a:t>
                      </a:r>
                      <a:r>
                        <a:rPr lang="en-US" sz="105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and criteria that include consideration of behavioral health conditions.</a:t>
                      </a:r>
                      <a:endParaRPr lang="en-US" sz="105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57200" y="0"/>
            <a:ext cx="8229600" cy="685800"/>
          </a:xfrm>
        </p:spPr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2017 PCMH </a:t>
            </a:r>
            <a:r>
              <a:rPr lang="en-US" dirty="0">
                <a:solidFill>
                  <a:schemeClr val="accent1"/>
                </a:solidFill>
              </a:rPr>
              <a:t>PRIME criteria  </a:t>
            </a:r>
            <a:r>
              <a:rPr lang="en-US" dirty="0" smtClean="0">
                <a:solidFill>
                  <a:schemeClr val="accent1"/>
                </a:solidFill>
              </a:rPr>
              <a:t>(effective beginning 11/17/2017)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719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</TotalTime>
  <Words>292</Words>
  <Application>Microsoft Office PowerPoint</Application>
  <PresentationFormat>On-screen Show (4:3)</PresentationFormat>
  <Paragraphs>30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2_Office Theme</vt:lpstr>
      <vt:lpstr>think-cell Slide</vt:lpstr>
      <vt:lpstr>2017 PCMH PRIME criteria  (effective beginning 11/17/2017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CMH PRIME criteria</dc:title>
  <dc:creator>KNB</dc:creator>
  <cp:lastModifiedBy>ANF</cp:lastModifiedBy>
  <cp:revision>12</cp:revision>
  <dcterms:created xsi:type="dcterms:W3CDTF">2017-09-27T16:21:26Z</dcterms:created>
  <dcterms:modified xsi:type="dcterms:W3CDTF">2018-02-21T19:15:41Z</dcterms:modified>
</cp:coreProperties>
</file>